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heme/themeOverride37.xml" ContentType="application/vnd.openxmlformats-officedocument.themeOverr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0"/>
  </p:notesMasterIdLst>
  <p:sldIdLst>
    <p:sldId id="256" r:id="rId3"/>
    <p:sldId id="314" r:id="rId4"/>
    <p:sldId id="311" r:id="rId5"/>
    <p:sldId id="312" r:id="rId6"/>
    <p:sldId id="315" r:id="rId7"/>
    <p:sldId id="642" r:id="rId8"/>
    <p:sldId id="659" r:id="rId9"/>
    <p:sldId id="660" r:id="rId10"/>
    <p:sldId id="661" r:id="rId11"/>
    <p:sldId id="662" r:id="rId12"/>
    <p:sldId id="663" r:id="rId13"/>
    <p:sldId id="664" r:id="rId14"/>
    <p:sldId id="665" r:id="rId15"/>
    <p:sldId id="666" r:id="rId16"/>
    <p:sldId id="667" r:id="rId17"/>
    <p:sldId id="668" r:id="rId18"/>
    <p:sldId id="669" r:id="rId19"/>
    <p:sldId id="670" r:id="rId20"/>
    <p:sldId id="671" r:id="rId21"/>
    <p:sldId id="672" r:id="rId22"/>
    <p:sldId id="673" r:id="rId23"/>
    <p:sldId id="674" r:id="rId24"/>
    <p:sldId id="675" r:id="rId25"/>
    <p:sldId id="676" r:id="rId26"/>
    <p:sldId id="677" r:id="rId27"/>
    <p:sldId id="678" r:id="rId28"/>
    <p:sldId id="679" r:id="rId29"/>
    <p:sldId id="680" r:id="rId30"/>
    <p:sldId id="681" r:id="rId31"/>
    <p:sldId id="682" r:id="rId32"/>
    <p:sldId id="683" r:id="rId33"/>
    <p:sldId id="684" r:id="rId34"/>
    <p:sldId id="685" r:id="rId35"/>
    <p:sldId id="686" r:id="rId36"/>
    <p:sldId id="687" r:id="rId37"/>
    <p:sldId id="688" r:id="rId38"/>
    <p:sldId id="689" r:id="rId39"/>
    <p:sldId id="690" r:id="rId40"/>
    <p:sldId id="691" r:id="rId41"/>
    <p:sldId id="692" r:id="rId42"/>
    <p:sldId id="693" r:id="rId43"/>
    <p:sldId id="694" r:id="rId44"/>
    <p:sldId id="695" r:id="rId45"/>
    <p:sldId id="696" r:id="rId46"/>
    <p:sldId id="697" r:id="rId47"/>
    <p:sldId id="698" r:id="rId48"/>
    <p:sldId id="261" r:id="rId49"/>
  </p:sldIdLst>
  <p:sldSz cx="12192000" cy="6858000"/>
  <p:notesSz cx="6858000" cy="9144000"/>
  <p:custDataLst>
    <p:tags r:id="rId5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710" y="53"/>
      </p:cViewPr>
      <p:guideLst>
        <p:guide orient="horz" pos="2104"/>
        <p:guide pos="383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4" Type="http://schemas.openxmlformats.org/officeDocument/2006/relationships/tags" Target="tags/tag8.xml"/><Relationship Id="rId53" Type="http://schemas.openxmlformats.org/officeDocument/2006/relationships/tableStyles" Target="tableStyles.xml"/><Relationship Id="rId52" Type="http://schemas.openxmlformats.org/officeDocument/2006/relationships/viewProps" Target="viewProps.xml"/><Relationship Id="rId51" Type="http://schemas.openxmlformats.org/officeDocument/2006/relationships/presProps" Target="presProps.xml"/><Relationship Id="rId50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49" Type="http://schemas.openxmlformats.org/officeDocument/2006/relationships/slide" Target="slides/slide47.xml"/><Relationship Id="rId48" Type="http://schemas.openxmlformats.org/officeDocument/2006/relationships/slide" Target="slides/slide46.xml"/><Relationship Id="rId47" Type="http://schemas.openxmlformats.org/officeDocument/2006/relationships/slide" Target="slides/slide45.xml"/><Relationship Id="rId46" Type="http://schemas.openxmlformats.org/officeDocument/2006/relationships/slide" Target="slides/slide44.xml"/><Relationship Id="rId45" Type="http://schemas.openxmlformats.org/officeDocument/2006/relationships/slide" Target="slides/slide43.xml"/><Relationship Id="rId44" Type="http://schemas.openxmlformats.org/officeDocument/2006/relationships/slide" Target="slides/slide42.xml"/><Relationship Id="rId43" Type="http://schemas.openxmlformats.org/officeDocument/2006/relationships/slide" Target="slides/slide41.xml"/><Relationship Id="rId42" Type="http://schemas.openxmlformats.org/officeDocument/2006/relationships/slide" Target="slides/slide40.xml"/><Relationship Id="rId41" Type="http://schemas.openxmlformats.org/officeDocument/2006/relationships/slide" Target="slides/slide39.xml"/><Relationship Id="rId40" Type="http://schemas.openxmlformats.org/officeDocument/2006/relationships/slide" Target="slides/slide38.xml"/><Relationship Id="rId4" Type="http://schemas.openxmlformats.org/officeDocument/2006/relationships/slide" Target="slides/slide2.xml"/><Relationship Id="rId39" Type="http://schemas.openxmlformats.org/officeDocument/2006/relationships/slide" Target="slides/slide37.xml"/><Relationship Id="rId38" Type="http://schemas.openxmlformats.org/officeDocument/2006/relationships/slide" Target="slides/slide36.xml"/><Relationship Id="rId37" Type="http://schemas.openxmlformats.org/officeDocument/2006/relationships/slide" Target="slides/slide35.xml"/><Relationship Id="rId36" Type="http://schemas.openxmlformats.org/officeDocument/2006/relationships/slide" Target="slides/slide34.xml"/><Relationship Id="rId35" Type="http://schemas.openxmlformats.org/officeDocument/2006/relationships/slide" Target="slides/slide33.xml"/><Relationship Id="rId34" Type="http://schemas.openxmlformats.org/officeDocument/2006/relationships/slide" Target="slides/slide32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5.jpe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3.xml"/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4.xml"/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5.xml"/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6.xml"/><Relationship Id="rId4" Type="http://schemas.openxmlformats.org/officeDocument/2006/relationships/image" Target="../media/image22.png"/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7.xml"/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8.xml"/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9.xml"/><Relationship Id="rId2" Type="http://schemas.openxmlformats.org/officeDocument/2006/relationships/tags" Target="../tags/tag4.xml"/><Relationship Id="rId1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10.xml"/><Relationship Id="rId4" Type="http://schemas.openxmlformats.org/officeDocument/2006/relationships/image" Target="../media/image29.png"/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11.xml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12.xml"/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5.jpeg"/><Relationship Id="rId1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13.xml"/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14.xml"/><Relationship Id="rId4" Type="http://schemas.openxmlformats.org/officeDocument/2006/relationships/image" Target="../media/image38.png"/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15.xml"/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16.xml"/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17.xml"/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image" Target="../media/image2.png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5.xml"/><Relationship Id="rId6" Type="http://schemas.openxmlformats.org/officeDocument/2006/relationships/themeOverride" Target="../theme/themeOverride18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19.xml"/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5.xml"/><Relationship Id="rId6" Type="http://schemas.openxmlformats.org/officeDocument/2006/relationships/themeOverride" Target="../theme/themeOverride20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7" Type="http://schemas.openxmlformats.org/officeDocument/2006/relationships/themeOverride" Target="../theme/themeOverride21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22.xml"/><Relationship Id="rId2" Type="http://schemas.openxmlformats.org/officeDocument/2006/relationships/image" Target="../media/image60.png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5.jpeg"/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tags" Target="../tags/tag2.xml"/></Relationships>
</file>

<file path=ppt/slides/_rels/slide3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23.xml"/><Relationship Id="rId2" Type="http://schemas.openxmlformats.org/officeDocument/2006/relationships/image" Target="../media/image61.png"/><Relationship Id="rId1" Type="http://schemas.openxmlformats.org/officeDocument/2006/relationships/image" Target="../media/image2.png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5.xml"/><Relationship Id="rId6" Type="http://schemas.openxmlformats.org/officeDocument/2006/relationships/themeOverride" Target="../theme/themeOverride24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image" Target="../media/image2.png"/></Relationships>
</file>

<file path=ppt/slides/_rels/slide3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25.xml"/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image" Target="../media/image2.png"/></Relationships>
</file>

<file path=ppt/slides/_rels/slide3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26.xml"/><Relationship Id="rId2" Type="http://schemas.openxmlformats.org/officeDocument/2006/relationships/image" Target="../media/image68.png"/><Relationship Id="rId1" Type="http://schemas.openxmlformats.org/officeDocument/2006/relationships/image" Target="../media/image2.png"/></Relationships>
</file>

<file path=ppt/slides/_rels/slide3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27.xml"/><Relationship Id="rId4" Type="http://schemas.openxmlformats.org/officeDocument/2006/relationships/image" Target="../media/image71.png"/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image" Target="../media/image2.png"/></Relationships>
</file>

<file path=ppt/slides/_rels/slide3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28.xml"/><Relationship Id="rId2" Type="http://schemas.openxmlformats.org/officeDocument/2006/relationships/image" Target="../media/image72.png"/><Relationship Id="rId1" Type="http://schemas.openxmlformats.org/officeDocument/2006/relationships/image" Target="../media/image2.png"/></Relationships>
</file>

<file path=ppt/slides/_rels/slide3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29.xml"/><Relationship Id="rId3" Type="http://schemas.openxmlformats.org/officeDocument/2006/relationships/image" Target="../media/image73.png"/><Relationship Id="rId2" Type="http://schemas.openxmlformats.org/officeDocument/2006/relationships/tags" Target="../tags/tag5.xml"/><Relationship Id="rId1" Type="http://schemas.openxmlformats.org/officeDocument/2006/relationships/image" Target="../media/image2.png"/></Relationships>
</file>

<file path=ppt/slides/_rels/slide37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30.xml"/><Relationship Id="rId4" Type="http://schemas.openxmlformats.org/officeDocument/2006/relationships/image" Target="../media/image76.png"/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image" Target="../media/image2.png"/></Relationships>
</file>

<file path=ppt/slides/_rels/slide38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5.xml"/><Relationship Id="rId6" Type="http://schemas.openxmlformats.org/officeDocument/2006/relationships/themeOverride" Target="../theme/themeOverride31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image" Target="../media/image2.png"/></Relationships>
</file>

<file path=ppt/slides/_rels/slide3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32.xml"/><Relationship Id="rId4" Type="http://schemas.openxmlformats.org/officeDocument/2006/relationships/image" Target="../media/image82.png"/><Relationship Id="rId3" Type="http://schemas.openxmlformats.org/officeDocument/2006/relationships/image" Target="../media/image81.png"/><Relationship Id="rId2" Type="http://schemas.openxmlformats.org/officeDocument/2006/relationships/image" Target="../media/image66.png"/><Relationship Id="rId1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2.png"/><Relationship Id="rId1" Type="http://schemas.openxmlformats.org/officeDocument/2006/relationships/tags" Target="../tags/tag3.xml"/></Relationships>
</file>

<file path=ppt/slides/_rels/slide40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5.xml"/><Relationship Id="rId6" Type="http://schemas.openxmlformats.org/officeDocument/2006/relationships/themeOverride" Target="../theme/themeOverride33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3" Type="http://schemas.openxmlformats.org/officeDocument/2006/relationships/image" Target="../media/image83.png"/><Relationship Id="rId2" Type="http://schemas.openxmlformats.org/officeDocument/2006/relationships/image" Target="../media/image66.png"/><Relationship Id="rId1" Type="http://schemas.openxmlformats.org/officeDocument/2006/relationships/image" Target="../media/image2.png"/></Relationships>
</file>

<file path=ppt/slides/_rels/slide41.xml.rels><?xml version="1.0" encoding="UTF-8" standalone="yes"?>
<Relationships xmlns="http://schemas.openxmlformats.org/package/2006/relationships"><Relationship Id="rId9" Type="http://schemas.openxmlformats.org/officeDocument/2006/relationships/themeOverride" Target="../theme/themeOverride34.xml"/><Relationship Id="rId8" Type="http://schemas.openxmlformats.org/officeDocument/2006/relationships/image" Target="../media/image92.png"/><Relationship Id="rId7" Type="http://schemas.openxmlformats.org/officeDocument/2006/relationships/image" Target="../media/image91.png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0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42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35.xml"/><Relationship Id="rId4" Type="http://schemas.openxmlformats.org/officeDocument/2006/relationships/image" Target="../media/image95.png"/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image" Target="../media/image2.png"/></Relationships>
</file>

<file path=ppt/slides/_rels/slide4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themeOverride" Target="../theme/themeOverride36.xml"/><Relationship Id="rId3" Type="http://schemas.openxmlformats.org/officeDocument/2006/relationships/image" Target="../media/image96.png"/><Relationship Id="rId2" Type="http://schemas.openxmlformats.org/officeDocument/2006/relationships/tags" Target="../tags/tag6.xml"/><Relationship Id="rId1" Type="http://schemas.openxmlformats.org/officeDocument/2006/relationships/image" Target="../media/image2.png"/></Relationships>
</file>

<file path=ppt/slides/_rels/slide44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4.png"/><Relationship Id="rId8" Type="http://schemas.openxmlformats.org/officeDocument/2006/relationships/image" Target="../media/image103.png"/><Relationship Id="rId7" Type="http://schemas.openxmlformats.org/officeDocument/2006/relationships/image" Target="../media/image102.png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5" Type="http://schemas.openxmlformats.org/officeDocument/2006/relationships/slideLayout" Target="../slideLayouts/slideLayout5.xml"/><Relationship Id="rId14" Type="http://schemas.openxmlformats.org/officeDocument/2006/relationships/themeOverride" Target="../theme/themeOverride37.xml"/><Relationship Id="rId13" Type="http://schemas.openxmlformats.org/officeDocument/2006/relationships/image" Target="../media/image66.png"/><Relationship Id="rId12" Type="http://schemas.openxmlformats.org/officeDocument/2006/relationships/image" Target="../media/image107.png"/><Relationship Id="rId11" Type="http://schemas.openxmlformats.org/officeDocument/2006/relationships/image" Target="../media/image106.png"/><Relationship Id="rId10" Type="http://schemas.openxmlformats.org/officeDocument/2006/relationships/image" Target="../media/image105.png"/><Relationship Id="rId1" Type="http://schemas.openxmlformats.org/officeDocument/2006/relationships/image" Target="../media/image2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7" Type="http://schemas.openxmlformats.org/officeDocument/2006/relationships/themeOverride" Target="../theme/themeOverride38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image" Target="../media/image2.png"/></Relationships>
</file>

<file path=ppt/slides/_rels/slide4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themeOverride" Target="../theme/themeOverride39.xml"/><Relationship Id="rId4" Type="http://schemas.openxmlformats.org/officeDocument/2006/relationships/image" Target="../media/image115.png"/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image" Target="../media/image2.png"/></Relationships>
</file>

<file path=ppt/slides/_rels/slide4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1.xml"/><Relationship Id="rId2" Type="http://schemas.openxmlformats.org/officeDocument/2006/relationships/image" Target="../media/image12.png"/><Relationship Id="rId1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2.xml"/><Relationship Id="rId2" Type="http://schemas.openxmlformats.org/officeDocument/2006/relationships/image" Target="../media/image13.png"/><Relationship Id="rId1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36" y="102030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4494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Maven基础知识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452245"/>
            <a:ext cx="10631805" cy="175323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3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好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好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约定优于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onvention Over Configurat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使用约定，约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源代码代码必须放在哪个目录下，编译好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las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代码又必须放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哪个目录下，这些目录都有明确的约定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每一个动作都拥有一个生命周期，例如执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vn instal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就可以自动执行编译，测试，打包等构建过程只需要定义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om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然后把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代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码放到默认的目录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就可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进行项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高度自动化构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依赖管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仓库管理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71525" y="3205480"/>
            <a:ext cx="13671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载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71525" y="3573780"/>
            <a:ext cx="513143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ach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官网下载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安装包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87" name="图片 8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525" y="4003993"/>
            <a:ext cx="5274310" cy="130746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6045835" y="3239135"/>
            <a:ext cx="535749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下载完成后，得到一个压缩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apache-maven-3.6.3-bin.zi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解压后可以看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组成目录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89" name="图片 8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7463" y="3869055"/>
            <a:ext cx="4234815" cy="1503680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771525" y="5524500"/>
            <a:ext cx="1063180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分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bi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：含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v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运行的脚本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b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     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含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lexus-classworld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加载器框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conf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：含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ttings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配置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     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b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：含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运行时所需要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类库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4494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Maven基础知识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381760"/>
            <a:ext cx="13671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安装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750060"/>
            <a:ext cx="1063180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1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首先要确保电脑上已经安装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DK(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dk 1.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8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或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以上的版本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配置好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D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环境变量，使用如下的两个命令检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D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安装的情况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330" y="2395220"/>
            <a:ext cx="1381125" cy="400050"/>
          </a:xfrm>
          <a:prstGeom prst="rect">
            <a:avLst/>
          </a:prstGeom>
        </p:spPr>
      </p:pic>
      <p:pic>
        <p:nvPicPr>
          <p:cNvPr id="261" name="图片 26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170" y="2395220"/>
            <a:ext cx="4945380" cy="113538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771525" y="3752850"/>
            <a:ext cx="9119870" cy="1476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2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pache-maven-3.6.3-bin.zip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进行解压缩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pache-maven-3.6.3-bin.zip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进行解压缩，解压缩到的目录不要有中文。比如解压缩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: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ork_software/maven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下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 3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设置系统环境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: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2_HOME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4494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Maven基础知识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463675"/>
            <a:ext cx="736663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配置是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笔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开发环境为例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读者需要根据实际情况进行变动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271" name="图片 1127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198" y="1831658"/>
            <a:ext cx="2825115" cy="261683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742180" y="2311400"/>
            <a:ext cx="661733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4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设置环境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at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%M2_HOME%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bi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加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at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，一定要注意要用分号；与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它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值隔开，如下图所示：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275" name="图片 1127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5360" y="2956560"/>
            <a:ext cx="3571240" cy="329946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4494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Maven基础知识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381760"/>
            <a:ext cx="782955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5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查看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版本，输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vn -ver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查看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版本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79" name="图片 27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6350" y="1749743"/>
            <a:ext cx="5274310" cy="79438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771525" y="2614930"/>
            <a:ext cx="601726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修改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心仓库下载到本地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的默认存储位置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63270" y="3039745"/>
            <a:ext cx="1066546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心仓库下载到本地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的默认存放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${user.home}/.m2/repository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${user.home}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表示当前登录系统的用户目录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(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C:\Users\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enovo"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下图所示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278" name="图片 1127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6350" y="3684905"/>
            <a:ext cx="4762500" cy="88392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763270" y="4568825"/>
            <a:ext cx="1066546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以上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默认存放位置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可以设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自定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载到本地时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的存放目录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例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D:\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下创建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maven_jar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71525" y="5270500"/>
            <a:ext cx="569023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找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%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apache-maven/conf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下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ttings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32" name="图片 132" descr="http://images.cnblogs.com/cnblogs_com/wangshuo1/868511/o_111111111112index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86500" y="5213985"/>
            <a:ext cx="5541010" cy="871855"/>
          </a:xfrm>
          <a:prstGeom prst="rect">
            <a:avLst/>
          </a:prstGeom>
          <a:noFill/>
          <a:ln>
            <a:noFill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4494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Maven基础知识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454785"/>
            <a:ext cx="68154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ttings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&l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ttings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&l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settings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节点里添加以下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代码：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8410" y="1823085"/>
            <a:ext cx="3609975" cy="180975"/>
          </a:xfrm>
          <a:prstGeom prst="rect">
            <a:avLst/>
          </a:prstGeom>
        </p:spPr>
      </p:pic>
      <p:pic>
        <p:nvPicPr>
          <p:cNvPr id="133" name="图片 133" descr="http://images.cnblogs.com/cnblogs_com/wangshuo1/868511/o_1112016081913324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01383" y="2107565"/>
            <a:ext cx="6298565" cy="123317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矩形 8"/>
          <p:cNvSpPr/>
          <p:nvPr/>
        </p:nvSpPr>
        <p:spPr>
          <a:xfrm>
            <a:off x="771525" y="3444240"/>
            <a:ext cx="1066546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这样就可以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下载到我们指定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:/maven_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中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下载到本地的好处就是当编译时会优先从本地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去找，如果本地存在就直接拿来用，如果不存在，就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中心仓库去下载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771525" y="4192905"/>
            <a:ext cx="1066482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第一次执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mvn compile"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mvn clean"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这两个命令时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会去中央仓库下载需要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，而第二次执行这两个命令时，由于所需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已经在本地的仓库中存储，所以就可以直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了，就省去了去中央仓库下载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4494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Maven基础知识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454785"/>
            <a:ext cx="202120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简单使用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814830"/>
            <a:ext cx="352425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的目录约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如下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4710" y="2191385"/>
            <a:ext cx="5257800" cy="173355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771525" y="3981450"/>
            <a:ext cx="562991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pom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中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groupI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tifactI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到底该怎么定义？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71525" y="4406265"/>
            <a:ext cx="5629910" cy="1476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可以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vnrepository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官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查找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模块的依赖配置，找到合适的版本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然后复制其中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配置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工程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m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里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&l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ependencies&gt;&lt;/dependencies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节点里。如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右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70" name="图片 27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1435" y="2160588"/>
            <a:ext cx="3619500" cy="372173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4494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Maven基础知识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446530"/>
            <a:ext cx="229552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常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总结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graphicFrame>
        <p:nvGraphicFramePr>
          <p:cNvPr id="2" name="表格 1"/>
          <p:cNvGraphicFramePr/>
          <p:nvPr>
            <p:custDataLst>
              <p:tags r:id="rId2"/>
            </p:custDataLst>
          </p:nvPr>
        </p:nvGraphicFramePr>
        <p:xfrm>
          <a:off x="969963" y="1879600"/>
          <a:ext cx="0" cy="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33663"/>
                <a:gridCol w="2633662"/>
              </a:tblGrid>
              <a:tr h="27432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</a:t>
                      </a:r>
                      <a:r>
                        <a:rPr lang="en-US" sz="1800" b="0">
                          <a:latin typeface="Calibri" panose="020F0502020204030204" charset="0"/>
                          <a:cs typeface="Calibri" panose="020F0502020204030204" charset="0"/>
                        </a:rPr>
                        <a:t>aven</a:t>
                      </a: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vn compile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编译源代码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vn test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行测试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vn package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打包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vn clean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清除产生的项目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381760"/>
            <a:ext cx="1068324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IDEA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全称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telliJ IDE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编程语言开发的集成环境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telliJ IDE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一种商业化销售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集成开发环境工具软件，由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etBrain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软件公司开发，提供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pache 2.0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开放式授权的社区版本以及专有软件的商业版本，开发者可选择其所需来下载使用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2303780"/>
            <a:ext cx="111887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DK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71525" y="2672080"/>
            <a:ext cx="1068324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启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tellij Idea,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Fi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-&gt; Project Structure,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弹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Project Structure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窗口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点击左侧标签页，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DK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81" name="图片 28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1400" y="3317240"/>
            <a:ext cx="1154430" cy="2259330"/>
          </a:xfrm>
          <a:prstGeom prst="rect">
            <a:avLst/>
          </a:prstGeom>
        </p:spPr>
      </p:pic>
      <p:pic>
        <p:nvPicPr>
          <p:cNvPr id="282" name="图片 28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7603" y="3316923"/>
            <a:ext cx="3475355" cy="230568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6383655" y="3118485"/>
            <a:ext cx="201231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+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号，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D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83" name="图片 28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8623" y="3554730"/>
            <a:ext cx="3023235" cy="202184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472565"/>
            <a:ext cx="329247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弹出框选择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D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路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84" name="图片 2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5190" y="1931670"/>
            <a:ext cx="3065780" cy="203962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5240655" y="1472565"/>
            <a:ext cx="360172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按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就配置完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D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85" name="图片 2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7793" y="1840865"/>
            <a:ext cx="3644265" cy="24384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463675"/>
            <a:ext cx="135890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配置Maven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71525" y="1831975"/>
            <a:ext cx="508000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打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tellij IDE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环境，点击左上角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Fi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菜单，在下拉菜单中选择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tting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项，如下图所示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86" name="图片 28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83" y="2553653"/>
            <a:ext cx="1348105" cy="264858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6142355" y="1831975"/>
            <a:ext cx="490855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弹出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tting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界面中，在输入框里输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然后定位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项，如下图所示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87" name="图片 28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2538" y="2476818"/>
            <a:ext cx="3703955" cy="247840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</a:t>
            </a:r>
            <a:r>
              <a:rPr lang="zh-CN" altLang="en-US" sz="2800" dirty="0" smtClean="0">
                <a:solidFill>
                  <a:srgbClr val="0000FF"/>
                </a:solidFill>
              </a:rPr>
              <a:t>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</a:t>
            </a:r>
            <a:r>
              <a:rPr lang="zh-CN" altLang="en-US" sz="2400" dirty="0" smtClean="0"/>
              <a:t>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  <a:endParaRPr lang="zh-CN" altLang="en-US" sz="2400" dirty="0"/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771525" y="1446530"/>
            <a:ext cx="514858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接下点击右侧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 home director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设置按钮，如下图所示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266" name="图片 1126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428" y="2156143"/>
            <a:ext cx="3663315" cy="238823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6194425" y="1446530"/>
            <a:ext cx="513905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然后在弹出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 home director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择界面中定位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安装包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273" name="图片 1127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7145" y="2091690"/>
            <a:ext cx="2362200" cy="26619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443673"/>
            <a:ext cx="508000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接下来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r settings fi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配置文件右侧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按钮，如下图所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" name="图片 2"/>
          <p:cNvPicPr/>
          <p:nvPr/>
        </p:nvPicPr>
        <p:blipFill>
          <a:blip r:embed="rId2"/>
          <a:stretch>
            <a:fillRect/>
          </a:stretch>
        </p:blipFill>
        <p:spPr>
          <a:xfrm>
            <a:off x="3556000" y="3328988"/>
            <a:ext cx="238125" cy="2000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1274" name="图片 1127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078" y="2151380"/>
            <a:ext cx="3674745" cy="238379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6116955" y="1443990"/>
            <a:ext cx="512254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弹出的配置文件设置界面中选择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安装包下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ttings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即可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285" name="图片 1128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7460" y="2089150"/>
            <a:ext cx="2315210" cy="26035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1" name="矩形 100"/>
          <p:cNvSpPr/>
          <p:nvPr/>
        </p:nvSpPr>
        <p:spPr>
          <a:xfrm>
            <a:off x="771525" y="1381760"/>
            <a:ext cx="141097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omcat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71525" y="1750060"/>
            <a:ext cx="336994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u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-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t Configurations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30" name="图片 3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888" y="2182495"/>
            <a:ext cx="2722245" cy="185674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4372610" y="1750060"/>
            <a:ext cx="511429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点击左侧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+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号，找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omcat Serve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择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oca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31" name="图片 3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4065" y="2118043"/>
            <a:ext cx="4244340" cy="267906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372610" y="4965700"/>
            <a:ext cx="519112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omcat Server -&gt; Unnamed -&gt; Server -&gt; Application serve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下，点击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onfiguration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找到本地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omcat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服务器，再点击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按钮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446530"/>
            <a:ext cx="250253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创建简单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879600"/>
            <a:ext cx="516636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启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tellij Idea,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Fi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-&gt;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ew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ojec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,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弹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ew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Project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窗口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点击左侧标签页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选择合适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roject SD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00" name="图片 20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1408" y="2866073"/>
            <a:ext cx="4196715" cy="274002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6495415" y="1814830"/>
            <a:ext cx="394589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Next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按钮，继续下一步的操作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01" name="图片 2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1460" y="2319338"/>
            <a:ext cx="3733800" cy="26320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1" name="矩形 100"/>
          <p:cNvSpPr/>
          <p:nvPr/>
        </p:nvSpPr>
        <p:spPr>
          <a:xfrm>
            <a:off x="771525" y="1381760"/>
            <a:ext cx="10639425" cy="1476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设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oupI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itifacti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GroupI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代表公司名称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tifactI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代表项目名称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坐标为各种构件引入了秩序，任何一个构件都必须明确的定义自己的坐标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坐标包括如下的元素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groupId: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定义当前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隶属的实际项目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artifactId: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该元素定义实际项目中的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或模块。在本例中输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Group I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com.dxt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tifact I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est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然后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Next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按钮，继续下一步的操作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04" name="图片 2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1720" y="2857818"/>
            <a:ext cx="4654550" cy="327088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6210300" y="2963545"/>
            <a:ext cx="526034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选择合适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oject Location(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然后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Finsih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按钮，生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。生成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结构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79" name="图片 7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4835" y="3885248"/>
            <a:ext cx="2653030" cy="197929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513715" y="1297305"/>
            <a:ext cx="296672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pom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中的内容如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525" y="1684655"/>
            <a:ext cx="3839845" cy="161671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3320415"/>
            <a:ext cx="3839845" cy="73088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513715" y="4070350"/>
            <a:ext cx="675386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编译整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，进入工程根目录，然后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mvn compile"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对整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进行编译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06" name="图片 20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525" y="4780280"/>
            <a:ext cx="3951605" cy="137985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5775960" y="1177925"/>
            <a:ext cx="521716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mvn compile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编译项目完成之后，在项目根目录下会生成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arg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夹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07" name="图片 20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20130" y="1855470"/>
            <a:ext cx="3705860" cy="136525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7322820" y="3693795"/>
            <a:ext cx="3945255" cy="230695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打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arg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夹，可以看到里面有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lass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夹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lass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夹存放的就是编译成功后生成的扩展名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las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。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mvn clean"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清除编译结果，也就是把编译生成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arg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夹删除，执行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mvn clean"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后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arg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夹就会被删除了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6088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IntelliJ IDEA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1" name="矩形 100"/>
          <p:cNvSpPr/>
          <p:nvPr/>
        </p:nvSpPr>
        <p:spPr>
          <a:xfrm>
            <a:off x="771525" y="1381760"/>
            <a:ext cx="282892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导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进行配置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71525" y="1750060"/>
            <a:ext cx="480568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telliJ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E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导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后，点击右侧的工具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58" name="图片 25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5520" y="2394903"/>
            <a:ext cx="2984500" cy="208851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5861050" y="1750060"/>
            <a:ext cx="496887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然后在弹出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tting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窗口，设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home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ctory, User settings fi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cal repositor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96" name="图片 9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8550" y="2731135"/>
            <a:ext cx="4114800" cy="275336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5483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VMWARE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381760"/>
            <a:ext cx="1066546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VMware Workstat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Mwar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公司推出的一款桌面虚拟计算软件，具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indow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nux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版本。此软件可以提供虚拟机功能，使计算机可以同时运行多个不同操作系统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2026920"/>
            <a:ext cx="226949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配置虚拟机的静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P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71525" y="2395220"/>
            <a:ext cx="326707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设置网络连接方式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’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模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’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82" name="图片 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535" y="2763520"/>
            <a:ext cx="4008120" cy="257937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5635625" y="2153920"/>
            <a:ext cx="228790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编辑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ifcfg-ens33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205" y="2522220"/>
            <a:ext cx="3514725" cy="180975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5704205" y="2742565"/>
            <a:ext cx="16338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修改如下内容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4205" y="3150235"/>
            <a:ext cx="2733675" cy="159067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5704205" y="4838065"/>
            <a:ext cx="3173730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设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地址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92.168.11.10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网关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92.168.11.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物理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地址的网关地址为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56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网段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83" name="图片 8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04275" y="3970338"/>
            <a:ext cx="3107690" cy="220662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5483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VMWARE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1" name="矩形 100"/>
          <p:cNvSpPr/>
          <p:nvPr/>
        </p:nvSpPr>
        <p:spPr>
          <a:xfrm>
            <a:off x="771525" y="1454785"/>
            <a:ext cx="515620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i /etc/sysconfig/network-scripts/ifcfg-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n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3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修改配置文件添加如下内容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94" name="图片 9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7260" y="2172970"/>
            <a:ext cx="3596640" cy="178308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771525" y="4029075"/>
            <a:ext cx="27260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修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etc/resolv.conf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，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2195" y="4397375"/>
            <a:ext cx="1628775" cy="1905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771525" y="4704080"/>
            <a:ext cx="252412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文件中添加以下内容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730" y="5115560"/>
            <a:ext cx="2038350" cy="171450"/>
          </a:xfrm>
          <a:prstGeom prst="rect">
            <a:avLst/>
          </a:prstGeom>
        </p:spPr>
      </p:pic>
      <p:sp>
        <p:nvSpPr>
          <p:cNvPr id="15" name="矩形 14"/>
          <p:cNvSpPr/>
          <p:nvPr/>
        </p:nvSpPr>
        <p:spPr>
          <a:xfrm>
            <a:off x="771525" y="5446395"/>
            <a:ext cx="326707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然后保存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,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最后重启下网络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2195" y="5814695"/>
            <a:ext cx="2076450" cy="161925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6366510" y="1454785"/>
            <a:ext cx="165100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恢复网络设置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6366510" y="1896110"/>
            <a:ext cx="516572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如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war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虚拟机出现问题，可以尝试恢复网络设置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MWAR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编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-&gt;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虚拟网络编辑器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78" name="图片 7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6695" y="2613978"/>
            <a:ext cx="3352800" cy="341566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5483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VMWARE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480820"/>
            <a:ext cx="207264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重新生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地址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849120"/>
            <a:ext cx="538924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编辑虚拟机设置，在虚拟机设置窗口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高级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按钮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0" name="图片 10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660" y="2256473"/>
            <a:ext cx="2720340" cy="264096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 fontScale="90000"/>
          </a:bodyPr>
          <a:lstStyle/>
          <a:p>
            <a:br>
              <a:rPr lang="en-US" altLang="zh-CN" sz="4800" dirty="0"/>
            </a:br>
            <a:r>
              <a:rPr sz="4800">
                <a:sym typeface="+mn-ea"/>
              </a:rPr>
              <a:t>第</a:t>
            </a:r>
            <a:r>
              <a:rPr lang="zh-CN" sz="4800">
                <a:sym typeface="+mn-ea"/>
              </a:rPr>
              <a:t>十一</a:t>
            </a:r>
            <a:r>
              <a:rPr sz="4800">
                <a:sym typeface="+mn-ea"/>
              </a:rPr>
              <a:t>章 </a:t>
            </a:r>
            <a:br>
              <a:rPr sz="4800">
                <a:sym typeface="+mn-ea"/>
              </a:rPr>
            </a:br>
            <a:r>
              <a:rPr sz="4800" smtClean="0">
                <a:latin typeface="微软雅黑 (正文)"/>
                <a:sym typeface="+mn-ea"/>
              </a:rPr>
              <a:t>第11章扩展知识</a:t>
            </a:r>
            <a:br>
              <a:rPr lang="en-US" altLang="en-US" sz="4800" b="0" dirty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</a:br>
            <a:br>
              <a:rPr lang="zh-CN" altLang="en-US" sz="4800" b="0" dirty="0" smtClean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</a:br>
            <a:endParaRPr sz="480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044" y="79984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521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SecureCRT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1" name="矩形 100"/>
          <p:cNvSpPr/>
          <p:nvPr/>
        </p:nvSpPr>
        <p:spPr>
          <a:xfrm>
            <a:off x="771525" y="1381760"/>
            <a:ext cx="10520045" cy="1476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cureC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一款支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S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SH1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SH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）的终端仿真程序，同时支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eln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logi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协议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cureC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一款用于连接运行包括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indow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NI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M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远程系统的理想工具。通过使用内含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C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行程序可以进行加密文件的传输。有流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elne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客户机的所有特点，能从命令行中运行或从浏览器中运行。其它特点包括文本手稿、易于使用的工具条、用户的键位图编辑器、可定制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NS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颜色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SecureC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S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协议支持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D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C4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密码和密码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S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鉴别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71525" y="2858135"/>
            <a:ext cx="38690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设置打开的连接显示在一个页面窗口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71525" y="3221990"/>
            <a:ext cx="1052004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cure C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连接按钮，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连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窗口勾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在标签页中打开”，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cure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打开的多个连接显示在一个页面窗口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8" name="图片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9373" y="3867150"/>
            <a:ext cx="3405505" cy="220091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521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SecureCRT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381760"/>
            <a:ext cx="230378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传输文件和下载文件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750060"/>
            <a:ext cx="525145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ure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链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需要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zsz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模块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790" y="2118360"/>
            <a:ext cx="1619250" cy="16192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771525" y="2352040"/>
            <a:ext cx="9445625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设置上传路径和下载路径，打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ureCrt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点击会话菜单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-&gt;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会话选项，弹出的会话选项窗口，选择终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-&gt; X/Y/Zmodem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上传路径：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z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进行上传文件操作时，弹出的对话框会默认定位到该目录下。下载路径：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z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进行下载文件操作后，下载的文件会默认下载到该目录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98" name="图片 19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6185" y="3618865"/>
            <a:ext cx="2659380" cy="260858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4218305" y="3630295"/>
            <a:ext cx="220218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上传文件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z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5500" y="3998595"/>
            <a:ext cx="657225" cy="16192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4218305" y="4218940"/>
            <a:ext cx="727964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输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z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然后回车后，会出现文件选择对话框，可以选择需要上传文件，一次可以指定多个文件进行上传操作，上传到服务器的路径为当前执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z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的目录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4255770" y="5123180"/>
            <a:ext cx="247777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下载文件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z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7865" y="5473700"/>
            <a:ext cx="1371600" cy="190500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4255770" y="5664200"/>
            <a:ext cx="724217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下载一个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z filename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下载多个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z filename1 filename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载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i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下的所有文件，不包含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i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的文件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z dir/*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521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SecureCRT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01" name="图片 100"/>
          <p:cNvPicPr/>
          <p:nvPr/>
        </p:nvPicPr>
        <p:blipFill>
          <a:blip r:embed="rId2"/>
          <a:stretch>
            <a:fillRect/>
          </a:stretch>
        </p:blipFill>
        <p:spPr>
          <a:xfrm>
            <a:off x="771208" y="1503997"/>
            <a:ext cx="390525" cy="257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2" name="矩形 101"/>
          <p:cNvSpPr/>
          <p:nvPr/>
        </p:nvSpPr>
        <p:spPr>
          <a:xfrm>
            <a:off x="1162050" y="1447800"/>
            <a:ext cx="70548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注意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71525" y="1882140"/>
            <a:ext cx="1052004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z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上传文件时，如果上传的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ecureC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客户端上传的时候如果勾选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‘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CI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方式上传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’选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中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las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就会丢失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所以上传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时不能勾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‘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CI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方式上传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’选项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2" name="图片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7985" y="2869883"/>
            <a:ext cx="3634740" cy="258508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521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SecureCRT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381760"/>
            <a:ext cx="11004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显示中文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750060"/>
            <a:ext cx="528637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cure C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 -&gt;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会话选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,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择左侧树状列表里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终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-&gt;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外观，选择字符编码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UTF-8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32" name="图片 3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280" y="2496503"/>
            <a:ext cx="3543300" cy="346392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38975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Chrome常用技巧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2" name="矩形 101"/>
          <p:cNvSpPr/>
          <p:nvPr/>
        </p:nvSpPr>
        <p:spPr>
          <a:xfrm>
            <a:off x="771525" y="1381760"/>
            <a:ext cx="1047623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Google Chro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由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Goog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开发的免费网页浏览器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Google Chro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特点是简洁、快速。此外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Google Chro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基于更强大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vaScript V8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引擎，这是当前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eb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浏览器所无法实现的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71525" y="2026920"/>
            <a:ext cx="254444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打开开发者工具控制台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71525" y="2395220"/>
            <a:ext cx="908494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打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ro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浏览器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F1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打开控制台，或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trl+Shift+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组合键，切换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onso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窗口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771525" y="2832100"/>
            <a:ext cx="130619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基本输出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71525" y="3167380"/>
            <a:ext cx="403161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onsole.log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(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方法在控制台输出内容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525" y="3535680"/>
            <a:ext cx="2562225" cy="124777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3750" y="3535680"/>
            <a:ext cx="2600325" cy="172402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6882130" y="2832100"/>
            <a:ext cx="463359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浏览器的控制台打印测试信息如下图所示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2" name="图片 10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3983" y="3268663"/>
            <a:ext cx="1845945" cy="258254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38975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Chrome常用技巧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381760"/>
            <a:ext cx="19513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Chro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禁用缓存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750060"/>
            <a:ext cx="1065720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打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rom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浏览器，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F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 键或按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trl+Shift+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、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trl+Shift+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组合键打开控制台，然后切换到“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tWro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选项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中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isable Cache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项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272" name="图片 1127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4280" y="2499678"/>
            <a:ext cx="5274310" cy="115379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2" name="矩形 101"/>
          <p:cNvSpPr/>
          <p:nvPr/>
        </p:nvSpPr>
        <p:spPr>
          <a:xfrm>
            <a:off x="771525" y="1381760"/>
            <a:ext cx="288925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indow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3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71525" y="1807210"/>
            <a:ext cx="531177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本节讲解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indow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安装并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开发环境。安装环境信息如下表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graphicFrame>
        <p:nvGraphicFramePr>
          <p:cNvPr id="5" name="表格 4"/>
          <p:cNvGraphicFramePr/>
          <p:nvPr>
            <p:custDataLst>
              <p:tags r:id="rId2"/>
            </p:custDataLst>
          </p:nvPr>
        </p:nvGraphicFramePr>
        <p:xfrm>
          <a:off x="815658" y="2452370"/>
          <a:ext cx="5267325" cy="5302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33663"/>
                <a:gridCol w="2633662"/>
              </a:tblGrid>
              <a:tr h="2863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W</a:t>
                      </a:r>
                      <a:r>
                        <a:rPr lang="en-US" sz="16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indows 10 64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位平台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</a:t>
                      </a:r>
                      <a:r>
                        <a:rPr lang="en-US" sz="16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ython</a:t>
                      </a:r>
                      <a:endParaRPr lang="en-US" altLang="en-US" sz="1600" b="0">
                        <a:latin typeface="Times New Roman" panose="02020603050405020304" charset="0"/>
                        <a:ea typeface="宋体" panose="02010600030101010101" pitchFamily="2" charset="-122"/>
                        <a:cs typeface="Times New Roman" panose="020206030504050203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</a:t>
                      </a:r>
                      <a:r>
                        <a:rPr lang="en-US" sz="16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.6.4</a:t>
                      </a:r>
                      <a:endParaRPr lang="en-US" altLang="en-US" sz="1600" b="0">
                        <a:latin typeface="Times New Roman" panose="02020603050405020304" charset="0"/>
                        <a:ea typeface="宋体" panose="02010600030101010101" pitchFamily="2" charset="-122"/>
                        <a:cs typeface="Times New Roman" panose="020206030504050203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矩形 5"/>
          <p:cNvSpPr/>
          <p:nvPr/>
        </p:nvSpPr>
        <p:spPr>
          <a:xfrm>
            <a:off x="771525" y="3334385"/>
            <a:ext cx="5311775" cy="175323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官网的下载所需要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 3.6.4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版本的安装包，读者可根据自己使用的平台选择相应的版本进行下载。对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indow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用户来说，如果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位系统，则选择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x86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版本；如果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64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位系统，则选择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x86-64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版本。下载完成后，会得到一个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ex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为扩展名的文件，双击该文件进行安装，如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4" name="图片 10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5530" y="3039428"/>
            <a:ext cx="5274310" cy="20478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381760"/>
            <a:ext cx="553720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选择自定义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3.6.4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下图所示。安装路径可以自己决定，笔者的安装路径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D:\installed_software\py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2303780"/>
            <a:ext cx="553783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安装过程中按照提示一步步操作就行，但安装路径尽量不要带有中文或空格，以避免在使用过程中出现一些莫名的错误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5" name="图片 10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1208" y="3325178"/>
            <a:ext cx="2878455" cy="177228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028065" y="5085080"/>
            <a:ext cx="2365375" cy="24511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选择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”Customer nstallation” 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自定义安装</a:t>
            </a:r>
            <a:endParaRPr lang="en-US" altLang="zh-CN" sz="10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42" name="图片 24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0243" y="3225800"/>
            <a:ext cx="3007995" cy="185928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5372735" y="5099050"/>
            <a:ext cx="1437005" cy="24511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安装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Python3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的可选项</a:t>
            </a:r>
            <a:endParaRPr lang="en-US" altLang="zh-CN" sz="10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45" name="图片 24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318818" y="3325178"/>
            <a:ext cx="2990215" cy="184467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8825230" y="5170170"/>
            <a:ext cx="1978025" cy="24511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设置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Python3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的自定义安装路径</a:t>
            </a:r>
            <a:endParaRPr lang="en-US" altLang="zh-CN" sz="1000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2" name="矩形 101"/>
          <p:cNvSpPr/>
          <p:nvPr/>
        </p:nvSpPr>
        <p:spPr>
          <a:xfrm>
            <a:off x="561340" y="1381760"/>
            <a:ext cx="563372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安装完成后，可以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开始”菜单中看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 3.6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7" name="图片 10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4568" y="1777683"/>
            <a:ext cx="1529715" cy="211645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814070" y="3943350"/>
            <a:ext cx="525145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打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自带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DLE(Python 3.6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4-bit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就可以编写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程序了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 Shel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界面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49" name="图片 2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5435" y="4657090"/>
            <a:ext cx="3265170" cy="122301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536065" y="5893435"/>
            <a:ext cx="3344545" cy="3987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IDLE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是一个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Python Shell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shell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的意思是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外壳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，就是一个通过键入文本与程序交互的途径。</a:t>
            </a:r>
            <a:endParaRPr lang="en-US" altLang="zh-CN" sz="10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308725" y="1381760"/>
            <a:ext cx="5500370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还需要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安装目录添加到系统环境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at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，在桌面上右击“我的电脑”，弹出快捷菜单，选择“属性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→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高级系统设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→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高级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单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环境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按钮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图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所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51" name="图片 25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6823" y="2580958"/>
            <a:ext cx="2694305" cy="259397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6308725" y="5245100"/>
            <a:ext cx="328422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系统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at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添加变量值：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63970" y="5613400"/>
            <a:ext cx="4981575" cy="1905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" name="图片 2"/>
          <p:cNvPicPr/>
          <p:nvPr/>
        </p:nvPicPr>
        <p:blipFill>
          <a:blip r:embed="rId2"/>
          <a:stretch>
            <a:fillRect/>
          </a:stretch>
        </p:blipFill>
        <p:spPr>
          <a:xfrm>
            <a:off x="649923" y="1461452"/>
            <a:ext cx="390525" cy="257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3" name="矩形 102"/>
          <p:cNvSpPr/>
          <p:nvPr/>
        </p:nvSpPr>
        <p:spPr>
          <a:xfrm>
            <a:off x="1114425" y="1405890"/>
            <a:ext cx="64643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注意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798320"/>
            <a:ext cx="10648950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d: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stalled_softwar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笔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本机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.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6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.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4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位置，读者需要根据自己机器上的实际情况进行修改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Window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系统变量的路径之间使用分号（；）相连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添加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变量值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成功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图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所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57" name="图片 25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925" y="3021330"/>
            <a:ext cx="2885440" cy="278384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4827905" y="2997200"/>
            <a:ext cx="6591935" cy="1476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还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需要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环境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PAT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用来永久设置模块的搜索路径。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安装第三方模块时，第三方模块存放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%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b/site-packag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下，所以需要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%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b/site-packag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对应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目录添加到系统环境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PAT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827905" y="4382135"/>
            <a:ext cx="659193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桌面上右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我的电脑”，弹出快捷菜单，选择“属性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→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高级系统设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→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高级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，单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环境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按钮。新建系统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PAT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添加变量值：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6505" y="5304155"/>
            <a:ext cx="3590925" cy="1905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855" cy="511873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7597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endParaRPr lang="en-US" altLang="zh-CN" sz="2000" b="0" dirty="0" err="1" smtClean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2章</a:t>
                      </a:r>
                      <a:endParaRPr lang="en-US" altLang="en-US" sz="200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常用数据类型</a:t>
                      </a:r>
                      <a:endParaRPr lang="zh-CN" altLang="en-US" sz="2000" b="0" kern="1200" dirty="0" smtClean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5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缓存的持久化</a:t>
                      </a:r>
                      <a:endParaRPr lang="zh-CN" altLang="en-US" sz="2000" b="0" kern="1200" dirty="0" smtClean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zh-CN" altLang="en-US" sz="2000" b="0" dirty="0" smtClean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57382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920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0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920">
                <a:tc>
                  <a:txBody>
                    <a:bodyPr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dirty="0" smtClean="0">
                          <a:latin typeface="微软雅黑 (正文)"/>
                          <a:sym typeface="+mn-ea"/>
                        </a:rPr>
                        <a:t>第11章</a:t>
                      </a:r>
                      <a:endParaRPr lang="zh-CN" altLang="en-US" sz="2000" b="0" dirty="0" smtClean="0">
                        <a:latin typeface="微软雅黑 (正文)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latin typeface="微软雅黑 (正文)"/>
                        </a:rPr>
                        <a:t>扩展知识</a:t>
                      </a:r>
                      <a:endParaRPr lang="zh-CN" altLang="en-US" sz="2000" b="0" dirty="0" smtClean="0">
                        <a:latin typeface="微软雅黑 (正文)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771525" y="1797050"/>
            <a:ext cx="1068324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:/install_software/python3/Lib/site-package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笔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机器上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y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第三方模块的配置路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读者需要根据自己机器上的实际情况进行修改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5" name="图片 4"/>
          <p:cNvPicPr/>
          <p:nvPr/>
        </p:nvPicPr>
        <p:blipFill>
          <a:blip r:embed="rId2"/>
          <a:stretch>
            <a:fillRect/>
          </a:stretch>
        </p:blipFill>
        <p:spPr>
          <a:xfrm>
            <a:off x="649923" y="1461452"/>
            <a:ext cx="390525" cy="257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矩形 5"/>
          <p:cNvSpPr/>
          <p:nvPr/>
        </p:nvSpPr>
        <p:spPr>
          <a:xfrm>
            <a:off x="1114425" y="1405255"/>
            <a:ext cx="64643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注意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27" name="图片 2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0105" y="2478405"/>
            <a:ext cx="3276600" cy="313690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4612640" y="2597785"/>
            <a:ext cx="684212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现在，我们检验一下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否安装成功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in+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组合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运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md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，进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提示符窗口，如下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08" name="图片 10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0780" y="3581400"/>
            <a:ext cx="1529080" cy="812800"/>
          </a:xfrm>
          <a:prstGeom prst="rect">
            <a:avLst/>
          </a:prstGeom>
        </p:spPr>
      </p:pic>
      <p:pic>
        <p:nvPicPr>
          <p:cNvPr id="86" name="图片 8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0535" y="3360103"/>
            <a:ext cx="1884680" cy="125412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4612640" y="4732655"/>
            <a:ext cx="6842125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命令行输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开始启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 ID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交互环境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）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需要几秒钟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时间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启动后，读者就可以看到它的界面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含了一个交互式终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也可以看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安装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版本号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下图所示。这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运行环境就安装好了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4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525" y="1381760"/>
            <a:ext cx="5274310" cy="481330"/>
          </a:xfrm>
          <a:prstGeom prst="rect">
            <a:avLst/>
          </a:prstGeom>
        </p:spPr>
      </p:pic>
      <p:sp>
        <p:nvSpPr>
          <p:cNvPr id="103" name="矩形 102"/>
          <p:cNvSpPr/>
          <p:nvPr/>
        </p:nvSpPr>
        <p:spPr>
          <a:xfrm>
            <a:off x="2763520" y="1863090"/>
            <a:ext cx="1290955" cy="24511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的运行环境</a:t>
            </a:r>
            <a:endParaRPr lang="en-US" altLang="zh-CN" sz="10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71525" y="2216150"/>
            <a:ext cx="1053655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它的行首显示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个大于号（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&gt;&gt;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）是命令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提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符，当看到这个提示符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就表示解释器正在等待输入命令。下面尝试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提示符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后输入：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5035" y="2621280"/>
            <a:ext cx="1847850" cy="17145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771525" y="2861310"/>
            <a:ext cx="10536555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按回车键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就会执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所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输入的命令，并在窗口中显示运行结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图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-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4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所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也可以把命令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看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计算器来计算表达式的值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提示符后面输入的每一条命令看成一个程序，命令行每次只运行这个程序中的一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图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-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5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所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还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可以在命令行中创建变量或导入模块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下图所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29" name="图片 33" descr="E://installed_software/youdao/xpws2013@163.com/64e6f6deaf5b4635bf5a3332d4cb2416/ip_image-636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666558" y="4128453"/>
            <a:ext cx="1551305" cy="391795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</p:pic>
      <p:pic>
        <p:nvPicPr>
          <p:cNvPr id="129" name="图片 34" descr="E://installed_software/youdao/xpws2013@163.com/e62acb63a4bc4885829767611daa0851/_image-28808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3218180" y="4128770"/>
            <a:ext cx="876300" cy="364490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</p:pic>
      <p:pic>
        <p:nvPicPr>
          <p:cNvPr id="230" name="图片 35" descr="E://installed_software/youdao/xpws2013@163.com/c29387758ec94c5285dc36ab6cf81e32/_image-24474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094163" y="4128770"/>
            <a:ext cx="1034415" cy="549910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</p:pic>
      <p:sp>
        <p:nvSpPr>
          <p:cNvPr id="9" name="矩形 8"/>
          <p:cNvSpPr/>
          <p:nvPr/>
        </p:nvSpPr>
        <p:spPr>
          <a:xfrm>
            <a:off x="2671445" y="4676775"/>
            <a:ext cx="1737360" cy="24511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创建变量，计算和导入模块</a:t>
            </a:r>
            <a:endParaRPr lang="en-US" altLang="zh-CN" sz="10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771525" y="4929505"/>
            <a:ext cx="5800725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impor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数学函数库的功能都导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程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上面的程序使用了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赋值运算符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（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=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），其含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9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开平方根，并把结果赋值给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最后把结果打印到屏幕上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6572885" y="3695700"/>
            <a:ext cx="510476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可以通过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el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获取某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函数的使用方法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以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模块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功能描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图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44175" y="4060190"/>
            <a:ext cx="1133475" cy="1905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5160" y="4499610"/>
            <a:ext cx="4260215" cy="1626235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7651115" y="6141720"/>
            <a:ext cx="2948305" cy="24511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help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命令获取某个函数的使用方法</a:t>
            </a:r>
            <a:endParaRPr lang="en-US" altLang="zh-CN" sz="1000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771525" y="1381760"/>
            <a:ext cx="1063053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如果想退出命令行模式，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“Ctrl + C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组合键。还可以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代码写在在一个扩展名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文件里，这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就叫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脚本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生成一个名为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ello.p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含以下内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0805" y="2040890"/>
            <a:ext cx="1828800" cy="18097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771525" y="2363470"/>
            <a:ext cx="785114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进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ello.p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同一个文件夹，然后输入以下命令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,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就可以运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脚本了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22665" y="2461895"/>
            <a:ext cx="1409700" cy="171450"/>
          </a:xfrm>
          <a:prstGeom prst="rect">
            <a:avLst/>
          </a:prstGeom>
        </p:spPr>
      </p:pic>
      <p:pic>
        <p:nvPicPr>
          <p:cNvPr id="232" name="图片 2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608" y="2791143"/>
            <a:ext cx="4057015" cy="45656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3" name="矩形 102"/>
          <p:cNvSpPr/>
          <p:nvPr/>
        </p:nvSpPr>
        <p:spPr>
          <a:xfrm>
            <a:off x="771525" y="1381760"/>
            <a:ext cx="252031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nu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3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71525" y="1750060"/>
            <a:ext cx="1060069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本节讲解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nu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安装并配置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开发环境。本书使用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nu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平台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entOS7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安装环境信息如下表所示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1967548" y="2395220"/>
          <a:ext cx="0" cy="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33663"/>
                <a:gridCol w="2633662"/>
              </a:tblGrid>
              <a:tr h="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</a:t>
                      </a:r>
                      <a:r>
                        <a:rPr lang="en-US" sz="16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ntOS 7 64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位平台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</a:t>
                      </a:r>
                      <a:r>
                        <a:rPr lang="en-US" sz="16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ython</a:t>
                      </a:r>
                      <a:endParaRPr lang="en-US" altLang="en-US" sz="1600" b="0">
                        <a:latin typeface="Times New Roman" panose="02020603050405020304" charset="0"/>
                        <a:ea typeface="宋体" panose="02010600030101010101" pitchFamily="2" charset="-122"/>
                        <a:cs typeface="Times New Roman" panose="020206030504050203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</a:t>
                      </a:r>
                      <a:r>
                        <a:rPr lang="en-US" sz="16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.6.4</a:t>
                      </a:r>
                      <a:endParaRPr lang="en-US" altLang="en-US" sz="1600" b="0">
                        <a:latin typeface="Times New Roman" panose="02020603050405020304" charset="0"/>
                        <a:ea typeface="宋体" panose="02010600030101010101" pitchFamily="2" charset="-122"/>
                        <a:cs typeface="Times New Roman" panose="020206030504050203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771525" y="2995930"/>
            <a:ext cx="301879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1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前的库环境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0940" y="3356610"/>
            <a:ext cx="5305425" cy="52387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771525" y="3937000"/>
            <a:ext cx="10600690" cy="1476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下载，解压和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源码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官网下载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y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压缩源码，本书使用的版本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-3.6.4.tgz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首先切换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用户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用户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nu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系统的最高权限用户，因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用户权限过大，系统一般情况下不允许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用户登录系统。但是以普通用户登录系统后，普通用户权力受限，做不了一些基本操作，比如安装应用程序，所以这里需要切换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用户来执行一些对系统有重大影响的操作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7784" y="6304557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771525" y="1381760"/>
            <a:ext cx="432308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如下命令从普通用户切换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用户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9980" y="1750060"/>
            <a:ext cx="1095375" cy="17145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771525" y="1911985"/>
            <a:ext cx="553783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输入回车后，系统提示输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密码。验证通过后，切换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oo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用户完成。使用以下命令建立安装路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softwar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980" y="2891790"/>
            <a:ext cx="1485900" cy="190500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771525" y="3091815"/>
            <a:ext cx="519493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-3.6.4.tgz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上传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oftwar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夹下，解压文件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9980" y="3746500"/>
            <a:ext cx="2362200" cy="333375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771525" y="4052570"/>
            <a:ext cx="232346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进入解压后的文件夹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4425" y="4420870"/>
            <a:ext cx="1638300" cy="171450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771525" y="4592320"/>
            <a:ext cx="5070475" cy="1476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编译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默认安装路径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usr/loca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如果要改成其他目录可以在编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(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ke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前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nfigur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后面追加参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-prefix=/usr/local/python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来完成修改，指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安装目录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usr/local/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9980" y="6040120"/>
            <a:ext cx="3076575" cy="209550"/>
          </a:xfrm>
          <a:prstGeom prst="rect">
            <a:avLst/>
          </a:prstGeom>
        </p:spPr>
      </p:pic>
      <p:sp>
        <p:nvSpPr>
          <p:cNvPr id="18" name="矩形 17"/>
          <p:cNvSpPr/>
          <p:nvPr/>
        </p:nvSpPr>
        <p:spPr>
          <a:xfrm>
            <a:off x="6308725" y="631190"/>
            <a:ext cx="190817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编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源码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2725" y="999490"/>
            <a:ext cx="771525" cy="180975"/>
          </a:xfrm>
          <a:prstGeom prst="rect">
            <a:avLst/>
          </a:prstGeom>
        </p:spPr>
      </p:pic>
      <p:sp>
        <p:nvSpPr>
          <p:cNvPr id="22" name="矩形 21"/>
          <p:cNvSpPr/>
          <p:nvPr/>
        </p:nvSpPr>
        <p:spPr>
          <a:xfrm>
            <a:off x="6308725" y="1180465"/>
            <a:ext cx="119951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执行安装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7805" y="1548765"/>
            <a:ext cx="1390650" cy="180975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6308725" y="1729740"/>
            <a:ext cx="503237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至此已经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en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S7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系统中成功安装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on3,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还需要把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配置信息添加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u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环境变量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ATH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中，修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etc/profi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下的内容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24625" y="2651760"/>
            <a:ext cx="1476375" cy="18097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6308725" y="2832735"/>
            <a:ext cx="508000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添加以下内容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在文件末尾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然后保存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退出到命令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u="sng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24625" y="3477895"/>
            <a:ext cx="3324225" cy="171450"/>
          </a:xfrm>
          <a:prstGeom prst="rect">
            <a:avLst/>
          </a:prstGeom>
        </p:spPr>
      </p:pic>
      <p:sp>
        <p:nvSpPr>
          <p:cNvPr id="29" name="矩形 28"/>
          <p:cNvSpPr/>
          <p:nvPr/>
        </p:nvSpPr>
        <p:spPr>
          <a:xfrm>
            <a:off x="6309360" y="3658870"/>
            <a:ext cx="301053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最后，激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etc/profile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24625" y="4027170"/>
            <a:ext cx="1924050" cy="180975"/>
          </a:xfrm>
          <a:prstGeom prst="rect">
            <a:avLst/>
          </a:prstGeom>
        </p:spPr>
      </p:pic>
      <p:sp>
        <p:nvSpPr>
          <p:cNvPr id="32" name="矩形 31"/>
          <p:cNvSpPr/>
          <p:nvPr/>
        </p:nvSpPr>
        <p:spPr>
          <a:xfrm>
            <a:off x="6309360" y="4208145"/>
            <a:ext cx="4821555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命令行输入命令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t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就可以进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yt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hon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命令模式了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90" name="图片 9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24625" y="4853305"/>
            <a:ext cx="4000500" cy="584200"/>
          </a:xfrm>
          <a:prstGeom prst="rect">
            <a:avLst/>
          </a:prstGeom>
        </p:spPr>
      </p:pic>
      <p:sp>
        <p:nvSpPr>
          <p:cNvPr id="33" name="矩形 32"/>
          <p:cNvSpPr/>
          <p:nvPr/>
        </p:nvSpPr>
        <p:spPr>
          <a:xfrm>
            <a:off x="7686040" y="5491480"/>
            <a:ext cx="1946275" cy="24511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输入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python3</a:t>
            </a:r>
            <a:r>
              <a:rPr lang="en-US" altLang="zh-CN" sz="1000" dirty="0">
                <a:solidFill>
                  <a:srgbClr val="002060"/>
                </a:solidFill>
                <a:sym typeface="+mn-ea"/>
              </a:rPr>
              <a:t>命令进入命令模式</a:t>
            </a:r>
            <a:endParaRPr lang="en-US" altLang="zh-CN" sz="10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532755" y="5789930"/>
            <a:ext cx="6584315" cy="460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/usr/local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下一般是安装软件的目录，笔者建议把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Python 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3.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6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.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4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安装到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/usr/local/python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目录下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Linux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系统变量的路径之间使用冒号（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:</a:t>
            </a:r>
            <a:r>
              <a:rPr lang="en-US" altLang="zh-CN" sz="1200" dirty="0">
                <a:solidFill>
                  <a:srgbClr val="002060"/>
                </a:solidFill>
                <a:sym typeface="+mn-ea"/>
              </a:rPr>
              <a:t>）相连。</a:t>
            </a:r>
            <a:endParaRPr lang="en-US" altLang="zh-CN" sz="12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5" name="图片 34"/>
          <p:cNvPicPr/>
          <p:nvPr/>
        </p:nvPicPr>
        <p:blipFill>
          <a:blip r:embed="rId13"/>
          <a:stretch>
            <a:fillRect/>
          </a:stretch>
        </p:blipFill>
        <p:spPr>
          <a:xfrm>
            <a:off x="5532438" y="5496877"/>
            <a:ext cx="390525" cy="257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6" name="矩形 35"/>
          <p:cNvSpPr/>
          <p:nvPr/>
        </p:nvSpPr>
        <p:spPr>
          <a:xfrm>
            <a:off x="5996940" y="5441315"/>
            <a:ext cx="64643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注意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1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3" name="矩形 102"/>
          <p:cNvSpPr/>
          <p:nvPr/>
        </p:nvSpPr>
        <p:spPr>
          <a:xfrm>
            <a:off x="771525" y="1381760"/>
            <a:ext cx="186055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模块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71525" y="1750060"/>
            <a:ext cx="4869815" cy="132207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标准模块中没有连接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的模块，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但已经有开源的连接单机的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模块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: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-py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和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连接集群的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模块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: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-py-cluster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。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安装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操作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单机模块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,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需要使用以下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ip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命令安装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5610" y="2844800"/>
            <a:ext cx="1419225" cy="15240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771525" y="3072130"/>
            <a:ext cx="4869815" cy="58356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安装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ython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操作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集群模块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,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需要使用以下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ip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命令安装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5610" y="3440430"/>
            <a:ext cx="2324100" cy="14287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771525" y="3709670"/>
            <a:ext cx="3221355" cy="33718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安装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集群模块命令如下所示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233" name="图片 2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525" y="4091940"/>
            <a:ext cx="5053965" cy="1113155"/>
          </a:xfrm>
          <a:prstGeom prst="rect">
            <a:avLst/>
          </a:prstGeom>
        </p:spPr>
      </p:pic>
      <p:sp>
        <p:nvSpPr>
          <p:cNvPr id="37" name="矩形 36"/>
          <p:cNvSpPr/>
          <p:nvPr/>
        </p:nvSpPr>
        <p:spPr>
          <a:xfrm>
            <a:off x="666750" y="5298440"/>
            <a:ext cx="4974590" cy="82994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请确认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edis Server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已经启动并运行了，具体内容请参考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1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.2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is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环境安装。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	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新建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ython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脚本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Demo.py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操作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单机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5892165" y="1254760"/>
            <a:ext cx="5942965" cy="33718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本案例文件名为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” Redis\Chapter11\RedisDemo.py”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，内容如下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9" name="图片 3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8725" y="1591945"/>
            <a:ext cx="3971925" cy="1047750"/>
          </a:xfrm>
          <a:prstGeom prst="rect">
            <a:avLst/>
          </a:prstGeom>
        </p:spPr>
      </p:pic>
      <p:sp>
        <p:nvSpPr>
          <p:cNvPr id="40" name="矩形 39"/>
          <p:cNvSpPr/>
          <p:nvPr/>
        </p:nvSpPr>
        <p:spPr>
          <a:xfrm>
            <a:off x="6045835" y="2639695"/>
            <a:ext cx="5444490" cy="58356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程序会在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的数据库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0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中存储一个键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-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值对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,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运行程序得到如下结果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1" name="图片 4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6440" y="2992755"/>
            <a:ext cx="876300" cy="161925"/>
          </a:xfrm>
          <a:prstGeom prst="rect">
            <a:avLst/>
          </a:prstGeom>
        </p:spPr>
      </p:pic>
      <p:sp>
        <p:nvSpPr>
          <p:cNvPr id="42" name="矩形 41"/>
          <p:cNvSpPr/>
          <p:nvPr/>
        </p:nvSpPr>
        <p:spPr>
          <a:xfrm>
            <a:off x="6045835" y="3158490"/>
            <a:ext cx="5789930" cy="82994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请确认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集群已经启动并运行了，具体内容请参考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6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.3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is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Cluster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集群。新建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P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ython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脚本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edisCluster.py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操作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集群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045835" y="3988435"/>
            <a:ext cx="5788660" cy="58356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本案例文件名为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” Redis\Chapter11\RedisCluster.py”</a:t>
            </a: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，内容如下。</a:t>
            </a:r>
            <a:endParaRPr lang="en-US" altLang="zh-CN" sz="1600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53720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</a:t>
            </a:r>
            <a:r>
              <a:rPr lang="en-US" altLang="zh-CN" sz="2800" b="1" dirty="0">
                <a:solidFill>
                  <a:schemeClr val="bg1"/>
                </a:solidFill>
              </a:rPr>
              <a:t> 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Python 3操作Redis 集群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1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525" y="1381760"/>
            <a:ext cx="4352925" cy="210502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771525" y="3613785"/>
            <a:ext cx="262636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运行程序得到如下结果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325" y="3982085"/>
            <a:ext cx="971550" cy="16192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771525" y="4144010"/>
            <a:ext cx="531939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-cl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连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92.168.11.15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上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集群节点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525" y="4512310"/>
            <a:ext cx="4486275" cy="49530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771525" y="4994275"/>
            <a:ext cx="472503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查询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b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oo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获得到的结果和程序运行结果一致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</a:t>
            </a:r>
            <a:r>
              <a:rPr lang="zh-CN" altLang="en-US" b="1" dirty="0" smtClean="0">
                <a:solidFill>
                  <a:schemeClr val="tx1"/>
                </a:solidFill>
              </a:rPr>
              <a:t>：张云河、王硕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05580" y="602297"/>
            <a:ext cx="537358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》</a:t>
            </a:r>
            <a:r>
              <a:rPr lang="zh-CN" altLang="en-US" sz="2200" b="1" dirty="0" smtClean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240" y="1211016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6735445" y="1991995"/>
            <a:ext cx="481076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zh-CN" altLang="en-US" sz="3600" dirty="0" smtClean="0">
                <a:solidFill>
                  <a:srgbClr val="000000"/>
                </a:solidFill>
              </a:rPr>
              <a:t>第</a:t>
            </a:r>
            <a:r>
              <a:rPr lang="en-US" altLang="zh-CN" sz="3600" dirty="0" smtClean="0">
                <a:solidFill>
                  <a:srgbClr val="000000"/>
                </a:solidFill>
              </a:rPr>
              <a:t>11</a:t>
            </a:r>
            <a:r>
              <a:rPr lang="zh-CN" altLang="en-US" sz="3600" dirty="0" smtClean="0">
                <a:solidFill>
                  <a:srgbClr val="000000"/>
                </a:solidFill>
              </a:rPr>
              <a:t>章 </a:t>
            </a:r>
            <a:r>
              <a:rPr lang="zh-CN" sz="3600" smtClean="0">
                <a:latin typeface="微软雅黑 (正文)"/>
                <a:sym typeface="+mn-ea"/>
              </a:rPr>
              <a:t>扩展</a:t>
            </a:r>
            <a:r>
              <a:rPr lang="zh-CN" sz="3600" smtClean="0">
                <a:latin typeface="微软雅黑 (正文)"/>
                <a:sym typeface="+mn-ea"/>
              </a:rPr>
              <a:t>知识</a:t>
            </a:r>
            <a:endParaRPr lang="zh-CN" sz="3600" smtClean="0">
              <a:latin typeface="微软雅黑 (正文)"/>
              <a:sym typeface="+mn-ea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>
                <a:solidFill>
                  <a:srgbClr val="002060"/>
                </a:solidFill>
              </a:rPr>
              <a:t>： 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7228" y="13817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7228" y="211432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954530" y="1412875"/>
            <a:ext cx="214630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配置CentOS 7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954530" y="2161540"/>
            <a:ext cx="2426335" cy="460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Maven基础知识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7228" y="28276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7228" y="356022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9" name="矩形 8"/>
          <p:cNvSpPr/>
          <p:nvPr/>
        </p:nvSpPr>
        <p:spPr>
          <a:xfrm>
            <a:off x="1954530" y="2870835"/>
            <a:ext cx="2533015" cy="460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配置IntelliJ IDEA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954530" y="3597910"/>
            <a:ext cx="1653540" cy="460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VMWARE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7228" y="43014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7228" y="503405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3" name="矩形 12"/>
          <p:cNvSpPr/>
          <p:nvPr/>
        </p:nvSpPr>
        <p:spPr>
          <a:xfrm>
            <a:off x="1954530" y="4344670"/>
            <a:ext cx="2533015" cy="460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配置SecureCRT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954530" y="5071745"/>
            <a:ext cx="2533015" cy="460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Chrome常用技巧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7228" y="570398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6" name="矩形 15"/>
          <p:cNvSpPr/>
          <p:nvPr/>
        </p:nvSpPr>
        <p:spPr>
          <a:xfrm>
            <a:off x="1954530" y="5741670"/>
            <a:ext cx="3709670" cy="460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Python 3操作Redis 集群</a:t>
            </a:r>
            <a:endParaRPr lang="zh-CN" altLang="en-US" sz="2400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335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CentOS 7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100" name="矩形 99"/>
          <p:cNvSpPr/>
          <p:nvPr/>
        </p:nvSpPr>
        <p:spPr>
          <a:xfrm>
            <a:off x="771525" y="1451610"/>
            <a:ext cx="1059624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CentOS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是一个基于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Red Hat Linux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提供的可自由使用源代码的企业级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Linux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发行版本。每个版本的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CentOS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都会获得十年的技术支持（通过安全更新方式）。这样建立一个安全、低维护、稳定、高预测性和高重复性的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Linux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环境。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CentOS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是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Community Enterprise Operating System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的缩写。</a:t>
            </a:r>
            <a:endParaRPr lang="zh-CN" altLang="en-US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71525" y="2443480"/>
            <a:ext cx="137604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关闭防火墙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771525" y="2834640"/>
            <a:ext cx="1059624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FTP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软件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Window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系统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系统传送文件时，为了传输方便，可以关闭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上的防火墙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71525" y="3217545"/>
            <a:ext cx="513143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1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关闭防火墙彻底关闭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上的防火墙需要经过以下两步。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1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）关闭防火墙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1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950" y="4154805"/>
            <a:ext cx="4133850" cy="352425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771525" y="4522470"/>
            <a:ext cx="19259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） 关闭防火墙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2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3950" y="4890770"/>
            <a:ext cx="2209800" cy="180975"/>
          </a:xfrm>
          <a:prstGeom prst="rect">
            <a:avLst/>
          </a:prstGeom>
        </p:spPr>
      </p:pic>
      <p:pic>
        <p:nvPicPr>
          <p:cNvPr id="37" name="图片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3950" y="5113655"/>
            <a:ext cx="5274310" cy="1038860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6644640" y="3485515"/>
            <a:ext cx="322389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输入以下命令彻底关闭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linux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1345" y="3939540"/>
            <a:ext cx="1400175" cy="200025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6644640" y="4136390"/>
            <a:ext cx="4547870" cy="64516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修改防火墙配置文件后，最好重启下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u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操作系统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335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CentOS 7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445895"/>
            <a:ext cx="203835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配置国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yu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仓库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836420"/>
            <a:ext cx="10622915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通常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yum instal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来在线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u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系统的软件，这种方式可以自动处理安装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i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系统软件的依赖性关系，并且一次安装所有依赖的软件包。一般情况下，从国外的镜像仓库下载软件非常慢，很多情况下无法成功下载。因此国内的一些大公司和科研机构做镜像同步国外的软件，那么我们就可以使用国内的镜像仓库下载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nux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软件了，本书使用清华大学提供的镜像仓库进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y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u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仓库设置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771525" y="3035935"/>
            <a:ext cx="600011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网上搜索清华大学镜像仓库，找到镜像列表里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40" name="图片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7095" y="3404870"/>
            <a:ext cx="3147060" cy="1014730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887095" y="4935855"/>
            <a:ext cx="5733415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点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后面的连接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?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进入帮助说明页面。本书使用的实验环境是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7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安装和操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所以在帮助说明页面中选择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版本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7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60" name="图片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4485" y="3883025"/>
            <a:ext cx="3896360" cy="235712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335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配置CentOS 7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381760"/>
            <a:ext cx="9532620" cy="147637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1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首先备份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entOS-Base.rep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$ sudo cp /etc/yum.repos.d/CentOS-Base.repo /etc/yum.repos.d/CentOS-Base.repo.bak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将清华大学镜像仓库信息写入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/etc/yum.repos.d/CentOS-Base.rep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v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i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命令编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entOS-Base.rep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$ vi /etc/yum.repos.d/CentOS-Base.repo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71525" y="2858135"/>
            <a:ext cx="1016825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将帮助说明页面中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选择你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entO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版本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下面的内容进行复制，粘贴到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CentOS-Base.rep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文件中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329" name="图片 3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138" y="3226435"/>
            <a:ext cx="3369945" cy="202692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4558030" y="3382645"/>
            <a:ext cx="5088890" cy="1753235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3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清除缓存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$ yum clean all     #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清除系统所有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yu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缓存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$ yum makecache     #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生成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yum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缓存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4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,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更新系统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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   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yum -y update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44944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Maven基础知识</a:t>
            </a:r>
            <a:endParaRPr lang="zh-CN" altLang="en-US" sz="2800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771525" y="1430655"/>
            <a:ext cx="178879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基础知识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71525" y="1807210"/>
            <a:ext cx="874141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通过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po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.xml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描述信息来管理项目的构建，报告和文档的项目管理工具软件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771525" y="2175510"/>
            <a:ext cx="2055495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基本概念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71525" y="2543810"/>
            <a:ext cx="10802620" cy="36830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Maven(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翻译为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专家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内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"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是跨平台的项目管理工具。主要服务于基于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ava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平台的项目构建，依赖管理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71525" y="2920365"/>
            <a:ext cx="10802620" cy="92202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1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项目构建　　项目构建过程包括【清理项目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-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【编译项目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-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【测试项目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-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【生成测试报告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-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【打包项目】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-&gt;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【部署项目】这几个步骤，这六个步骤就是一个项目的完整构建过程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  <p:pic>
        <p:nvPicPr>
          <p:cNvPr id="64" name="图片 64" descr="http://images.cnblogs.com/cnblogs_com/wangshuo1/868511/o_indexmavenjlkjjopiufoijpoij11112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22973" y="3888105"/>
            <a:ext cx="5086985" cy="7747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矩形 9"/>
          <p:cNvSpPr/>
          <p:nvPr/>
        </p:nvSpPr>
        <p:spPr>
          <a:xfrm>
            <a:off x="771525" y="4587240"/>
            <a:ext cx="10802620" cy="1198880"/>
          </a:xfrm>
          <a:prstGeom prst="rect">
            <a:avLst/>
          </a:prstGeom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2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依赖管理依赖指的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之间的相互依赖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例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如搭建一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truts2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的开发框架时，光有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truts2-core-2.3.16.3.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这个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是不行的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struts2-core-2.3.16.3.j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还依赖其它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，依赖管理指的就是使用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来管理项目中使用到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，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Mave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管理的方式就是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“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自动下载项目所需要的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，统一管理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J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ar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包之间的依赖关系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”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。</a:t>
            </a:r>
            <a:endParaRPr lang="en-US" altLang="zh-CN" dirty="0">
              <a:solidFill>
                <a:srgbClr val="002060"/>
              </a:solidFill>
              <a:sym typeface="+mn-ea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p="http://schemas.openxmlformats.org/presentationml/2006/main">
  <p:tag name="THINKCELLSHAPEDONOTDELETE" val="tA6S0wzOvQ8a50SA42PUNRg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KSO_WM_UNIT_TABLE_BEAUTIFY" val="smartTable{58a06314-7e72-4d48-85a8-7253ed818c17}"/>
</p:tagLst>
</file>

<file path=ppt/tags/tag4.xml><?xml version="1.0" encoding="utf-8"?>
<p:tagLst xmlns:p="http://schemas.openxmlformats.org/presentationml/2006/main">
  <p:tag name="KSO_WM_UNIT_TABLE_BEAUTIFY" val="smartTable{1cc743d8-5606-42ea-a949-6e9762243101}"/>
</p:tagLst>
</file>

<file path=ppt/tags/tag5.xml><?xml version="1.0" encoding="utf-8"?>
<p:tagLst xmlns:p="http://schemas.openxmlformats.org/presentationml/2006/main">
  <p:tag name="KSO_WM_UNIT_TABLE_BEAUTIFY" val="smartTable{a88a3a10-0fce-4ef6-b600-584eaab72ccf}"/>
</p:tagLst>
</file>

<file path=ppt/tags/tag6.xml><?xml version="1.0" encoding="utf-8"?>
<p:tagLst xmlns:p="http://schemas.openxmlformats.org/presentationml/2006/main">
  <p:tag name="KSO_WM_UNIT_TABLE_BEAUTIFY" val="smartTable{9182950d-27e9-44c3-922a-b9c16cd22759}"/>
</p:tagLst>
</file>

<file path=ppt/tags/tag7.xml><?xml version="1.0" encoding="utf-8"?>
<p:tagLst xmlns:p="http://schemas.openxmlformats.org/presentationml/2006/main">
  <p:tag name="THINKCELLSHAPEDONOTDELETE" val="t1Smkff3fSzGMOuItfjj3Fw"/>
</p:tagLst>
</file>

<file path=ppt/tags/tag8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0795</Words>
  <Application>WPS 演示</Application>
  <PresentationFormat>宽屏</PresentationFormat>
  <Paragraphs>587</Paragraphs>
  <Slides>47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47</vt:i4>
      </vt:variant>
    </vt:vector>
  </HeadingPairs>
  <TitlesOfParts>
    <vt:vector size="62" baseType="lpstr">
      <vt:lpstr>Arial</vt:lpstr>
      <vt:lpstr>宋体</vt:lpstr>
      <vt:lpstr>Wingdings</vt:lpstr>
      <vt:lpstr>微软雅黑</vt:lpstr>
      <vt:lpstr>Times New Roman</vt:lpstr>
      <vt:lpstr>微软雅黑 (正文)</vt:lpstr>
      <vt:lpstr>黑体</vt:lpstr>
      <vt:lpstr>华文楷体</vt:lpstr>
      <vt:lpstr>Arial Unicode MS</vt:lpstr>
      <vt:lpstr>Calibri</vt:lpstr>
      <vt:lpstr>Courier New</vt:lpstr>
      <vt:lpstr>方正楷体简体</vt:lpstr>
      <vt:lpstr>Cambria</vt:lpstr>
      <vt:lpstr>Wingdings</vt:lpstr>
      <vt:lpstr>主题5</vt:lpstr>
      <vt:lpstr>Redis 6 开发与实战</vt:lpstr>
      <vt:lpstr>PowerPoint 演示文稿</vt:lpstr>
      <vt:lpstr> 第十章  Redis的缓存设计与优化 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北京兄弟</cp:lastModifiedBy>
  <cp:revision>213</cp:revision>
  <cp:lastPrinted>2021-11-30T03:01:00Z</cp:lastPrinted>
  <dcterms:created xsi:type="dcterms:W3CDTF">2021-11-30T03:01:00Z</dcterms:created>
  <dcterms:modified xsi:type="dcterms:W3CDTF">2022-03-21T14:3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